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7A62290E-CF6C-4325-B95D-3D3205FBFB84}">
          <p14:sldIdLst>
            <p14:sldId id="2147477365"/>
            <p14:sldId id="2147477366"/>
            <p14:sldId id="2147477367"/>
            <p14:sldId id="2147477368"/>
            <p14:sldId id="2147477369"/>
          </p14:sldIdLst>
        </p14:section>
        <p14:section name="Category Price Point Distribution Analysis P12M" id="{E2C633DB-E5DA-4BBF-8B51-7478DA0E7D8F}">
          <p14:sldIdLst>
            <p14:sldId id="2147477370"/>
            <p14:sldId id="2147477371"/>
            <p14:sldId id="2147477372"/>
            <p14:sldId id="2147477373"/>
            <p14:sldId id="2147477374"/>
          </p14:sldIdLst>
        </p14:section>
        <p14:section name="Sector Price Point Distribution Analysis P3M" id="{17C48655-671A-4BAC-8652-1A5F121881AD}">
          <p14:sldIdLst>
            <p14:sldId id="2147477375"/>
            <p14:sldId id="2147477376"/>
            <p14:sldId id="2147477377"/>
            <p14:sldId id="2147477378"/>
            <p14:sldId id="2147477379"/>
            <p14:sldId id="2147477380"/>
            <p14:sldId id="2147477381"/>
          </p14:sldIdLst>
        </p14:section>
        <p14:section name="Sector Price Point Distribution Analysis P12M" id="{3F97A6C7-0ACB-473C-B3EE-9CF35B28E955}">
          <p14:sldIdLst>
            <p14:sldId id="2147477382"/>
            <p14:sldId id="2147477383"/>
            <p14:sldId id="2147477384"/>
            <p14:sldId id="2147477385"/>
            <p14:sldId id="2147477386"/>
            <p14:sldId id="2147477387"/>
            <p14:sldId id="2147477388"/>
          </p14:sldIdLst>
        </p14:section>
        <p14:section name="Category Price Point Distribution Analysis P3M ByManuf" id="{D6FC8CD9-A85B-4234-B08F-43046D1383FB}">
          <p14:sldIdLst>
            <p14:sldId id="2147477389"/>
            <p14:sldId id="2147477390"/>
            <p14:sldId id="2147477391"/>
          </p14:sldIdLst>
        </p14:section>
        <p14:section name="Category Price Point Distribution Analysis P12M ByManuf" id="{11B61E68-0192-4E87-B5BC-2EBC8D807694}">
          <p14:sldIdLst>
            <p14:sldId id="2147477392"/>
            <p14:sldId id="2147477393"/>
            <p14:sldId id="2147477394"/>
          </p14:sldIdLst>
        </p14:section>
        <p14:section name="Sector Price Point Distribution Analysis P3M ByManuf" id="{14B656C4-14A9-459E-B769-E10465C7C907}">
          <p14:sldIdLst>
            <p14:sldId id="2147477395"/>
            <p14:sldId id="2147477396"/>
            <p14:sldId id="2147477397"/>
            <p14:sldId id="2147477398"/>
            <p14:sldId id="2147477399"/>
          </p14:sldIdLst>
        </p14:section>
        <p14:section name="Sector Price Point Distribution Analysis P12M ByManuf" id="{73710202-7A49-44F7-8C3B-CF461C0FC6D3}">
          <p14:sldIdLst>
            <p14:sldId id="2147477400"/>
            <p14:sldId id="2147477401"/>
            <p14:sldId id="2147477402"/>
            <p14:sldId id="2147477403"/>
            <p14:sldId id="2147477404"/>
          </p14:sldIdLst>
        </p14:section>
        <p14:section name="Price Point Comparison Analysis by Manuf" id="{7C8CF939-D22A-422A-A64F-0421BDBC55E3}">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D4CC051F-5C73-4457-89F8-9FCBFB47A055}">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FEB73C78-E714-4A7B-B951-EE0CC20C64D5}">
          <p14:sldIdLst>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Lst>
        </p14:section>
        <p14:section name="Price Point Distribution By Brand By Sector" id="{7C19716E-CA78-482A-82CD-5A5FA4EDC439}">
          <p14:sldIdLst>
            <p14:sldId id="2147477462"/>
            <p14:sldId id="2147477463"/>
            <p14:sldId id="2147477464"/>
          </p14:sldIdLst>
        </p14:section>
        <p14:section name="Price Point Distribution By Brand By Segment" id="{E06FC660-9DA0-4D5F-86D1-97817728CFE9}">
          <p14:sldIdLst>
            <p14:sldId id="2147477465"/>
            <p14:sldId id="2147477466"/>
            <p14:sldId id="2147477467"/>
            <p14:sldId id="2147477468"/>
            <p14:sldId id="2147477469"/>
            <p14:sldId id="214747747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12551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902225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67890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371041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640135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411960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9106114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809947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43550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91275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680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79688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93066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8374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220387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3896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37175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2041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25529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033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91177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31466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78256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3556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76529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33162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197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00886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98984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39377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222940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189913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86944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4357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874629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020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397377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575260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67735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3591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72424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3193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353418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432268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799104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809901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14737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51051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620836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27220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20413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768311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9951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159596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749008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515212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16743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08011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016708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305423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2576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94968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203377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962618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614398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88795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099868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681313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072535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53394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357882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367917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8682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38547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371637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950104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688590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7346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35771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872722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324035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603076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587770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7709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991814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597380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244269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107227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84051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923980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2570722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200795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955466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482315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73342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9360614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825362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966015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8863555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68151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44394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508886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92021709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90029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0161052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03654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1491</Words>
  <Application>Microsoft Office PowerPoint</Application>
  <PresentationFormat>On-screen Show (16:9)</PresentationFormat>
  <Paragraphs>5158</Paragraphs>
  <Slides>10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12:3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